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5" r:id="rId1"/>
  </p:sldMasterIdLst>
  <p:notesMasterIdLst>
    <p:notesMasterId r:id="rId8"/>
  </p:notesMasterIdLst>
  <p:handoutMasterIdLst>
    <p:handoutMasterId r:id="rId9"/>
  </p:handoutMasterIdLst>
  <p:sldIdLst>
    <p:sldId id="261" r:id="rId2"/>
    <p:sldId id="260" r:id="rId3"/>
    <p:sldId id="267" r:id="rId4"/>
    <p:sldId id="264" r:id="rId5"/>
    <p:sldId id="263" r:id="rId6"/>
    <p:sldId id="268" r:id="rId7"/>
  </p:sldIdLst>
  <p:sldSz cx="10085388" cy="7562850"/>
  <p:notesSz cx="6858000" cy="9296400"/>
  <p:custDataLst>
    <p:tags r:id="rId10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1pPr>
    <a:lvl2pPr marL="481294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2pPr>
    <a:lvl3pPr marL="962589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3pPr>
    <a:lvl4pPr marL="1443883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4pPr>
    <a:lvl5pPr marL="1925178" algn="l" rtl="0" eaLnBrk="0" fontAlgn="base" hangingPunct="0">
      <a:spcBef>
        <a:spcPct val="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+mn-cs"/>
      </a:defRPr>
    </a:lvl5pPr>
    <a:lvl6pPr marL="2406472" algn="l" defTabSz="962589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6pPr>
    <a:lvl7pPr marL="2887767" algn="l" defTabSz="962589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7pPr>
    <a:lvl8pPr marL="3369061" algn="l" defTabSz="962589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8pPr>
    <a:lvl9pPr marL="3850356" algn="l" defTabSz="962589" rtl="0" eaLnBrk="1" latinLnBrk="0" hangingPunct="1">
      <a:defRPr sz="13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Zentn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B7EA"/>
    <a:srgbClr val="004B8D"/>
    <a:srgbClr val="00B5CB"/>
    <a:srgbClr val="F18917"/>
    <a:srgbClr val="F3CF74"/>
    <a:srgbClr val="7DB935"/>
    <a:srgbClr val="AFE06E"/>
    <a:srgbClr val="DAF0A8"/>
    <a:srgbClr val="696969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09" autoAdjust="0"/>
    <p:restoredTop sz="94803" autoAdjust="0"/>
  </p:normalViewPr>
  <p:slideViewPr>
    <p:cSldViewPr snapToGrid="0" snapToObjects="1">
      <p:cViewPr>
        <p:scale>
          <a:sx n="85" d="100"/>
          <a:sy n="85" d="100"/>
        </p:scale>
        <p:origin x="-870" y="198"/>
      </p:cViewPr>
      <p:guideLst>
        <p:guide orient="horz" pos="2708"/>
        <p:guide orient="horz" pos="190"/>
        <p:guide orient="horz" pos="257"/>
        <p:guide orient="horz" pos="867"/>
        <p:guide orient="horz" pos="1114"/>
        <p:guide orient="horz" pos="4295"/>
        <p:guide orient="horz" pos="4635"/>
        <p:guide orient="horz" pos="4489"/>
        <p:guide pos="3177"/>
        <p:guide pos="186"/>
        <p:guide pos="1240"/>
        <p:guide pos="2456"/>
        <p:guide pos="6172"/>
        <p:guide pos="53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0" d="100"/>
          <a:sy n="70" d="100"/>
        </p:scale>
        <p:origin x="-2166" y="-114"/>
      </p:cViewPr>
      <p:guideLst>
        <p:guide orient="horz" pos="2928"/>
        <p:guide pos="215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43663" y="9101138"/>
            <a:ext cx="368300" cy="1571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9D5CB8B8-5F34-4237-AF7D-35832C52BC00}" type="slidenum">
              <a:rPr lang="en-GB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22765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8488" y="4418013"/>
            <a:ext cx="5610225" cy="45862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398" tIns="44897" rIns="91398" bIns="448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</p:txBody>
      </p:sp>
      <p:sp>
        <p:nvSpPr>
          <p:cNvPr id="205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3588" y="214313"/>
            <a:ext cx="5284787" cy="39624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86538" y="9120188"/>
            <a:ext cx="225425" cy="1381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49609E7F-9528-4EC0-924E-F24DB821635D}" type="slidenum">
              <a:rPr lang="en-GB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95755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7170" indent="-187170" algn="l" rtl="0" fontAlgn="base">
      <a:spcBef>
        <a:spcPct val="100000"/>
      </a:spcBef>
      <a:spcAft>
        <a:spcPct val="0"/>
      </a:spcAft>
      <a:buFont typeface="Wingdings" pitchFamily="2" charset="2"/>
      <a:buChar char="§"/>
      <a:defRPr sz="1100" kern="1200">
        <a:solidFill>
          <a:schemeClr val="tx1"/>
        </a:solidFill>
        <a:latin typeface="Arial" charset="0"/>
        <a:ea typeface="+mn-ea"/>
        <a:cs typeface="+mn-cs"/>
      </a:defRPr>
    </a:lvl1pPr>
    <a:lvl2pPr marL="360971" indent="-172130" algn="l" rtl="0" fontAlgn="base">
      <a:lnSpc>
        <a:spcPct val="85000"/>
      </a:lnSpc>
      <a:spcBef>
        <a:spcPct val="45000"/>
      </a:spcBef>
      <a:spcAft>
        <a:spcPct val="0"/>
      </a:spcAft>
      <a:buChar char="–"/>
      <a:defRPr sz="1100" kern="1200">
        <a:solidFill>
          <a:schemeClr val="tx1"/>
        </a:solidFill>
        <a:latin typeface="Arial" charset="0"/>
        <a:ea typeface="+mn-ea"/>
        <a:cs typeface="+mn-cs"/>
      </a:defRPr>
    </a:lvl2pPr>
    <a:lvl3pPr marL="548141" indent="-185499" algn="l" rtl="0" fontAlgn="base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100" kern="1200">
        <a:solidFill>
          <a:schemeClr val="tx1"/>
        </a:solidFill>
        <a:latin typeface="Arial" charset="0"/>
        <a:ea typeface="+mn-ea"/>
        <a:cs typeface="+mn-cs"/>
      </a:defRPr>
    </a:lvl3pPr>
    <a:lvl4pPr marL="721942" indent="-172130" algn="l" rtl="0" fontAlgn="base">
      <a:lnSpc>
        <a:spcPct val="85000"/>
      </a:lnSpc>
      <a:spcBef>
        <a:spcPct val="45000"/>
      </a:spcBef>
      <a:spcAft>
        <a:spcPct val="0"/>
      </a:spcAft>
      <a:defRPr sz="1100" kern="1200">
        <a:solidFill>
          <a:schemeClr val="tx1"/>
        </a:solidFill>
        <a:latin typeface="Arial" charset="0"/>
        <a:ea typeface="+mn-ea"/>
        <a:cs typeface="+mn-cs"/>
      </a:defRPr>
    </a:lvl4pPr>
    <a:lvl5pPr marL="1925178" algn="l" rtl="0" fontAlgn="base">
      <a:spcBef>
        <a:spcPct val="30000"/>
      </a:spcBef>
      <a:spcAft>
        <a:spcPct val="0"/>
      </a:spcAft>
      <a:defRPr sz="13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406472" algn="l" defTabSz="9625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7767" algn="l" defTabSz="9625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9061" algn="l" defTabSz="9625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50356" algn="l" defTabSz="962589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orporate-background.png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118" y="-15118"/>
            <a:ext cx="10116000" cy="759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P-En-background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118" y="-15118"/>
            <a:ext cx="10129021" cy="7596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372195" y="2632993"/>
            <a:ext cx="8104133" cy="155108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625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5100" b="1" kern="1200" cap="none" baseline="0" noProof="0" dirty="0">
                <a:solidFill>
                  <a:schemeClr val="bg1"/>
                </a:solidFill>
                <a:latin typeface="Myriad Pro" pitchFamily="34" charset="0"/>
                <a:ea typeface="+mj-ea"/>
                <a:cs typeface="Myriad Arabic" pitchFamily="50" charset="-78"/>
              </a:defRPr>
            </a:lvl1pPr>
          </a:lstStyle>
          <a:p>
            <a:pPr marL="0" marR="0" lvl="0" indent="0" algn="ctr" defTabSz="9625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(Sub brand) title page here</a:t>
            </a:r>
            <a:endParaRPr kumimoji="0" lang="en-GB" sz="51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P-En-background-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118" y="-15118"/>
            <a:ext cx="10129021" cy="759600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372195" y="2632993"/>
            <a:ext cx="8104133" cy="155108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9625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5100" b="1" kern="1200" cap="none" baseline="0" noProof="0" dirty="0">
                <a:solidFill>
                  <a:srgbClr val="1AB7EA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6258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(Sub brand) title page here</a:t>
            </a:r>
            <a:endParaRPr kumimoji="0" lang="en-GB" sz="51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400"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52964" y="1444296"/>
            <a:ext cx="8811785" cy="4861581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  <a:lvl2pPr>
              <a:defRPr>
                <a:latin typeface="Myriad Pro" pitchFamily="34" charset="0"/>
              </a:defRPr>
            </a:lvl2pPr>
            <a:lvl3pPr marL="762050" indent="372669">
              <a:defRPr sz="1900">
                <a:latin typeface="Myriad Pro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3061" y="1444295"/>
            <a:ext cx="5196695" cy="705515"/>
          </a:xfrm>
        </p:spPr>
        <p:txBody>
          <a:bodyPr anchor="t"/>
          <a:lstStyle>
            <a:lvl1pPr marL="0" indent="0">
              <a:buNone/>
              <a:defRPr sz="2500" b="1">
                <a:solidFill>
                  <a:srgbClr val="004B8D"/>
                </a:solidFill>
                <a:latin typeface="+mn-lt"/>
              </a:defRPr>
            </a:lvl1pPr>
            <a:lvl2pPr marL="481294" indent="0">
              <a:buNone/>
              <a:defRPr sz="2100" b="1"/>
            </a:lvl2pPr>
            <a:lvl3pPr marL="962589" indent="0">
              <a:buNone/>
              <a:defRPr sz="1900" b="1"/>
            </a:lvl3pPr>
            <a:lvl4pPr marL="1443883" indent="0">
              <a:buNone/>
              <a:defRPr sz="1700" b="1"/>
            </a:lvl4pPr>
            <a:lvl5pPr marL="1925178" indent="0">
              <a:buNone/>
              <a:defRPr sz="1700" b="1"/>
            </a:lvl5pPr>
            <a:lvl6pPr marL="2406472" indent="0">
              <a:buNone/>
              <a:defRPr sz="1700" b="1"/>
            </a:lvl6pPr>
            <a:lvl7pPr marL="2887767" indent="0">
              <a:buNone/>
              <a:defRPr sz="1700" b="1"/>
            </a:lvl7pPr>
            <a:lvl8pPr marL="3369061" indent="0">
              <a:buNone/>
              <a:defRPr sz="1700" b="1"/>
            </a:lvl8pPr>
            <a:lvl9pPr marL="3850356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3061" y="2149811"/>
            <a:ext cx="5196695" cy="4186428"/>
          </a:xfrm>
        </p:spPr>
        <p:txBody>
          <a:bodyPr/>
          <a:lstStyle>
            <a:lvl1pPr>
              <a:buNone/>
              <a:defRPr sz="1900">
                <a:solidFill>
                  <a:schemeClr val="bg1">
                    <a:lumMod val="65000"/>
                  </a:schemeClr>
                </a:solidFill>
                <a:latin typeface="Myriad Pro" pitchFamily="34" charset="0"/>
              </a:defRPr>
            </a:lvl1pPr>
            <a:lvl2pPr>
              <a:defRPr sz="21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9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6030222" y="1444296"/>
            <a:ext cx="3434527" cy="4891343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rporate footer.psd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79" y="6518536"/>
            <a:ext cx="9052560" cy="1054608"/>
          </a:xfrm>
          <a:prstGeom prst="rect">
            <a:avLst/>
          </a:prstGeom>
        </p:spPr>
      </p:pic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653061" y="654747"/>
            <a:ext cx="8811688" cy="789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653060" y="1444295"/>
            <a:ext cx="8811688" cy="48166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lvl="0"/>
            <a:r>
              <a:rPr lang="nl-NL" dirty="0" smtClean="0"/>
              <a:t>Lorem ipsum dolor sit</a:t>
            </a:r>
            <a:endParaRPr lang="en-GB" dirty="0" smtClean="0"/>
          </a:p>
          <a:p>
            <a:pPr lvl="1"/>
            <a:r>
              <a:rPr lang="nl-NL" dirty="0" smtClean="0"/>
              <a:t>Click</a:t>
            </a:r>
          </a:p>
          <a:p>
            <a:pPr lvl="5"/>
            <a:r>
              <a:rPr lang="nl-NL" dirty="0" smtClean="0"/>
              <a:t>Click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6544502" y="7009642"/>
            <a:ext cx="2153710" cy="402652"/>
          </a:xfrm>
          <a:prstGeom prst="rect">
            <a:avLst/>
          </a:prstGeom>
        </p:spPr>
        <p:txBody>
          <a:bodyPr vert="horz" lIns="96259" tIns="48129" rIns="96259" bIns="48129" rtlCol="0" anchor="ctr"/>
          <a:lstStyle>
            <a:lvl1pPr algn="ctr">
              <a:defRPr sz="12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r>
              <a:rPr lang="en-GB" dirty="0" smtClean="0"/>
              <a:t>Folio information here</a:t>
            </a:r>
            <a:endParaRPr lang="en-GB" dirty="0"/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8698213" y="7009642"/>
            <a:ext cx="882905" cy="402652"/>
          </a:xfrm>
          <a:prstGeom prst="rect">
            <a:avLst/>
          </a:prstGeom>
        </p:spPr>
        <p:txBody>
          <a:bodyPr vert="horz" lIns="96259" tIns="48129" rIns="96259" bIns="48129" rtlCol="0" anchor="ctr"/>
          <a:lstStyle>
            <a:lvl1pPr algn="r">
              <a:defRPr sz="12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r>
              <a:rPr lang="en-GB" dirty="0" smtClean="0"/>
              <a:t>Page </a:t>
            </a:r>
            <a:fld id="{817397F4-D26B-4992-9633-C515EEDCC268}" type="slidenum">
              <a:rPr lang="en-GB" smtClean="0"/>
              <a:pPr/>
              <a:t>‹Nº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5" r:id="rId2"/>
    <p:sldLayoutId id="2147483666" r:id="rId3"/>
    <p:sldLayoutId id="2147483659" r:id="rId4"/>
    <p:sldLayoutId id="2147483662" r:id="rId5"/>
    <p:sldLayoutId id="2147483664" r:id="rId6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00" b="1">
          <a:solidFill>
            <a:srgbClr val="1AB7EA"/>
          </a:solidFill>
          <a:latin typeface="Arial Black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5pPr>
      <a:lvl6pPr marL="481294"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6pPr>
      <a:lvl7pPr marL="962589"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7pPr>
      <a:lvl8pPr marL="1443883"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8pPr>
      <a:lvl9pPr marL="1925178"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Book Antiqua" pitchFamily="18" charset="0"/>
        </a:defRPr>
      </a:lvl9pPr>
    </p:titleStyle>
    <p:bodyStyle>
      <a:lvl1pPr marL="374340" indent="-374340" algn="l" rtl="0" eaLnBrk="1" fontAlgn="base" hangingPunct="1"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sz="2700">
          <a:solidFill>
            <a:srgbClr val="004B8D"/>
          </a:solidFill>
          <a:latin typeface="+mn-lt"/>
          <a:ea typeface="+mn-ea"/>
          <a:cs typeface="+mn-cs"/>
        </a:defRPr>
      </a:lvl1pPr>
      <a:lvl2pPr marL="757944" indent="-378972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300" dirty="0" smtClean="0">
          <a:solidFill>
            <a:srgbClr val="004B8D"/>
          </a:solidFill>
          <a:latin typeface="+mn-lt"/>
        </a:defRPr>
      </a:lvl2pPr>
      <a:lvl3pPr marL="2398117" indent="11699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Arial" pitchFamily="34" charset="0"/>
        <a:buChar char="•"/>
        <a:defRPr sz="1700">
          <a:solidFill>
            <a:srgbClr val="004B8D"/>
          </a:solidFill>
          <a:latin typeface="Arial" pitchFamily="34" charset="0"/>
          <a:cs typeface="Arial" pitchFamily="34" charset="0"/>
        </a:defRPr>
      </a:lvl3pPr>
      <a:lvl4pPr marL="2530138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700">
          <a:solidFill>
            <a:schemeClr val="tx1"/>
          </a:solidFill>
          <a:latin typeface="+mj-lt"/>
        </a:defRPr>
      </a:lvl4pPr>
      <a:lvl5pPr marL="2650462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700">
          <a:solidFill>
            <a:schemeClr val="tx1"/>
          </a:solidFill>
          <a:latin typeface="+mj-lt"/>
        </a:defRPr>
      </a:lvl5pPr>
      <a:lvl6pPr marL="1136916" indent="-378972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4B8D"/>
        </a:buClr>
        <a:buSzPct val="100000"/>
        <a:buFont typeface="Arial" pitchFamily="34" charset="0"/>
        <a:buChar char="•"/>
        <a:defRPr lang="en-GB" sz="1900" dirty="0" smtClean="0">
          <a:solidFill>
            <a:srgbClr val="004B8D"/>
          </a:solidFill>
          <a:latin typeface="+mn-lt"/>
        </a:defRPr>
      </a:lvl6pPr>
      <a:lvl7pPr marL="3613051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700">
          <a:solidFill>
            <a:schemeClr val="tx1"/>
          </a:solidFill>
          <a:latin typeface="+mj-lt"/>
        </a:defRPr>
      </a:lvl7pPr>
      <a:lvl8pPr marL="4094345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700">
          <a:solidFill>
            <a:schemeClr val="tx1"/>
          </a:solidFill>
          <a:latin typeface="+mj-lt"/>
        </a:defRPr>
      </a:lvl8pPr>
      <a:lvl9pPr marL="4575640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7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1294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2589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3883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5178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6472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7767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9061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50356" algn="l" defTabSz="9625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7219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heme/theme1.xml><?xml version="1.0" encoding="utf-8"?>
<a:theme xmlns:a="http://schemas.openxmlformats.org/drawingml/2006/main" name="wd_d_0_workx_wlg_1403_1_e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d_d_0_workx_wlg_1403_1_e</Template>
  <TotalTime>1</TotalTime>
  <Pages>8</Pages>
  <Words>0</Words>
  <PresentationFormat>Personalizado</PresentationFormat>
  <Paragraphs>0</Paragraphs>
  <Slides>6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7" baseType="lpstr">
      <vt:lpstr>wd_d_0_workx_wlg_1403_1_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Printed>2008-04-28T11:46:04Z</cp:lastPrinted>
  <dcterms:created xsi:type="dcterms:W3CDTF">2014-03-13T15:58:18Z</dcterms:created>
  <dcterms:modified xsi:type="dcterms:W3CDTF">2015-03-15T23:18:06Z</dcterms:modified>
</cp:coreProperties>
</file>